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64"/>
    <p:restoredTop sz="94680"/>
  </p:normalViewPr>
  <p:slideViewPr>
    <p:cSldViewPr snapToGrid="0">
      <p:cViewPr>
        <p:scale>
          <a:sx n="100" d="100"/>
          <a:sy n="100" d="100"/>
        </p:scale>
        <p:origin x="-1224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bee, Kyle" userId="fe7dc999-1fed-49a0-ad5f-78e1a12bba62" providerId="ADAL" clId="{49DC76F9-053B-414B-8D9C-740983D28B5E}"/>
    <pc:docChg chg="undo custSel modSld modMainMaster">
      <pc:chgData name="Scobee, Kyle" userId="fe7dc999-1fed-49a0-ad5f-78e1a12bba62" providerId="ADAL" clId="{49DC76F9-053B-414B-8D9C-740983D28B5E}" dt="2025-06-05T12:59:24.161" v="26" actId="478"/>
      <pc:docMkLst>
        <pc:docMk/>
      </pc:docMkLst>
      <pc:sldChg chg="delSp modSp mod modClrScheme chgLayout">
        <pc:chgData name="Scobee, Kyle" userId="fe7dc999-1fed-49a0-ad5f-78e1a12bba62" providerId="ADAL" clId="{49DC76F9-053B-414B-8D9C-740983D28B5E}" dt="2025-06-05T12:59:24.161" v="26" actId="478"/>
        <pc:sldMkLst>
          <pc:docMk/>
          <pc:sldMk cId="2916201089" sldId="326"/>
        </pc:sldMkLst>
        <pc:spChg chg="mod ord">
          <ac:chgData name="Scobee, Kyle" userId="fe7dc999-1fed-49a0-ad5f-78e1a12bba62" providerId="ADAL" clId="{49DC76F9-053B-414B-8D9C-740983D28B5E}" dt="2025-06-05T12:59:21.886" v="25" actId="1076"/>
          <ac:spMkLst>
            <pc:docMk/>
            <pc:sldMk cId="2916201089" sldId="326"/>
            <ac:spMk id="2" creationId="{09BD7C73-15F2-8A33-960F-52876D5F436A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3" creationId="{6414FF01-B984-BA29-0FBF-A777DE3BB38A}"/>
          </ac:spMkLst>
        </pc:spChg>
        <pc:spChg chg="mod or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4" creationId="{91E440D0-A89D-536C-C5F2-497D77CC7A61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5" creationId="{36C091D0-7CF7-857D-0E4F-BEE4E0AD932A}"/>
          </ac:spMkLst>
        </pc:spChg>
        <pc:spChg chg="del mod">
          <ac:chgData name="Scobee, Kyle" userId="fe7dc999-1fed-49a0-ad5f-78e1a12bba62" providerId="ADAL" clId="{49DC76F9-053B-414B-8D9C-740983D28B5E}" dt="2025-06-05T12:59:24.161" v="26" actId="478"/>
          <ac:spMkLst>
            <pc:docMk/>
            <pc:sldMk cId="2916201089" sldId="326"/>
            <ac:spMk id="6" creationId="{9C9AEEFE-9CB1-8277-B968-8895063B6A3B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7" creationId="{93BE8012-92F6-7E54-1D91-7EB03DEF2216}"/>
          </ac:spMkLst>
        </pc:spChg>
        <pc:spChg chg="del mod">
          <ac:chgData name="Scobee, Kyle" userId="fe7dc999-1fed-49a0-ad5f-78e1a12bba62" providerId="ADAL" clId="{49DC76F9-053B-414B-8D9C-740983D28B5E}" dt="2025-06-05T12:59:15.193" v="23" actId="478"/>
          <ac:spMkLst>
            <pc:docMk/>
            <pc:sldMk cId="2916201089" sldId="326"/>
            <ac:spMk id="37" creationId="{34C06A6A-5F25-99D8-7BD0-AFA79AF2139F}"/>
          </ac:spMkLst>
        </pc:spChg>
        <pc:spChg chg="del mod">
          <ac:chgData name="Scobee, Kyle" userId="fe7dc999-1fed-49a0-ad5f-78e1a12bba62" providerId="ADAL" clId="{49DC76F9-053B-414B-8D9C-740983D28B5E}" dt="2025-06-05T12:58:50.452" v="19" actId="478"/>
          <ac:spMkLst>
            <pc:docMk/>
            <pc:sldMk cId="2916201089" sldId="326"/>
            <ac:spMk id="42" creationId="{00E26326-A6AB-0A55-5D2E-5047923F0107}"/>
          </ac:spMkLst>
        </pc:spChg>
        <pc:picChg chg="del mod">
          <ac:chgData name="Scobee, Kyle" userId="fe7dc999-1fed-49a0-ad5f-78e1a12bba62" providerId="ADAL" clId="{49DC76F9-053B-414B-8D9C-740983D28B5E}" dt="2025-06-05T12:59:15.193" v="23" actId="478"/>
          <ac:picMkLst>
            <pc:docMk/>
            <pc:sldMk cId="2916201089" sldId="326"/>
            <ac:picMk id="49" creationId="{53266E17-55C1-D69A-EA57-93E60BAE6515}"/>
          </ac:picMkLst>
        </pc:picChg>
      </pc:sldChg>
      <pc:sldMasterChg chg="modSldLayout">
        <pc:chgData name="Scobee, Kyle" userId="fe7dc999-1fed-49a0-ad5f-78e1a12bba62" providerId="ADAL" clId="{49DC76F9-053B-414B-8D9C-740983D28B5E}" dt="2025-06-05T12:58:07.071" v="8"/>
        <pc:sldMasterMkLst>
          <pc:docMk/>
          <pc:sldMasterMk cId="835336367" sldId="2147485117"/>
        </pc:sldMasterMkLst>
        <pc:sldLayoutChg chg="addSp delSp modSp mod">
          <pc:chgData name="Scobee, Kyle" userId="fe7dc999-1fed-49a0-ad5f-78e1a12bba62" providerId="ADAL" clId="{49DC76F9-053B-414B-8D9C-740983D28B5E}" dt="2025-06-05T12:58:07.071" v="8"/>
          <pc:sldLayoutMkLst>
            <pc:docMk/>
            <pc:sldMasterMk cId="835336367" sldId="2147485117"/>
            <pc:sldLayoutMk cId="4248801636" sldId="2147485255"/>
          </pc:sldLayoutMkLst>
          <pc:spChg chg="del">
            <ac:chgData name="Scobee, Kyle" userId="fe7dc999-1fed-49a0-ad5f-78e1a12bba62" providerId="ADAL" clId="{49DC76F9-053B-414B-8D9C-740983D28B5E}" dt="2025-06-05T12:57:24.886" v="0" actId="478"/>
            <ac:spMkLst>
              <pc:docMk/>
              <pc:sldMasterMk cId="835336367" sldId="2147485117"/>
              <pc:sldLayoutMk cId="4248801636" sldId="2147485255"/>
              <ac:spMk id="2" creationId="{3B8BA228-C5CD-E096-B509-A87C028D7A69}"/>
            </ac:spMkLst>
          </pc:spChg>
          <pc:spChg chg="del">
            <ac:chgData name="Scobee, Kyle" userId="fe7dc999-1fed-49a0-ad5f-78e1a12bba62" providerId="ADAL" clId="{49DC76F9-053B-414B-8D9C-740983D28B5E}" dt="2025-06-05T12:57:29.243" v="2" actId="478"/>
            <ac:spMkLst>
              <pc:docMk/>
              <pc:sldMasterMk cId="835336367" sldId="2147485117"/>
              <pc:sldLayoutMk cId="4248801636" sldId="2147485255"/>
              <ac:spMk id="3" creationId="{956ABE40-D2CE-C226-225B-2DF991242D23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4" creationId="{B2B4902E-83AE-DFAE-FB2D-C5AAC10A8193}"/>
            </ac:spMkLst>
          </pc:spChg>
          <pc:spChg chg="add del mod">
            <ac:chgData name="Scobee, Kyle" userId="fe7dc999-1fed-49a0-ad5f-78e1a12bba62" providerId="ADAL" clId="{49DC76F9-053B-414B-8D9C-740983D28B5E}" dt="2025-06-05T12:58:07.071" v="8"/>
            <ac:spMkLst>
              <pc:docMk/>
              <pc:sldMasterMk cId="835336367" sldId="2147485117"/>
              <pc:sldLayoutMk cId="4248801636" sldId="2147485255"/>
              <ac:spMk id="5" creationId="{8306793A-5DA2-7975-320A-50E0A0A7E0E6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6" creationId="{F059FBA2-F353-84F6-E090-FF1952420E92}"/>
            </ac:spMkLst>
          </pc:spChg>
          <pc:spChg chg="add mod">
            <ac:chgData name="Scobee, Kyle" userId="fe7dc999-1fed-49a0-ad5f-78e1a12bba62" providerId="ADAL" clId="{49DC76F9-053B-414B-8D9C-740983D28B5E}" dt="2025-06-05T12:57:45.865" v="5"/>
            <ac:spMkLst>
              <pc:docMk/>
              <pc:sldMasterMk cId="835336367" sldId="2147485117"/>
              <pc:sldLayoutMk cId="4248801636" sldId="2147485255"/>
              <ac:spMk id="8" creationId="{C3E9D49A-9C1D-ADFD-E0F1-55D1319A4BA0}"/>
            </ac:spMkLst>
          </pc:spChg>
          <pc:spChg chg="add mod">
            <ac:chgData name="Scobee, Kyle" userId="fe7dc999-1fed-49a0-ad5f-78e1a12bba62" providerId="ADAL" clId="{49DC76F9-053B-414B-8D9C-740983D28B5E}" dt="2025-06-05T12:58:04.950" v="7"/>
            <ac:spMkLst>
              <pc:docMk/>
              <pc:sldMasterMk cId="835336367" sldId="2147485117"/>
              <pc:sldLayoutMk cId="4248801636" sldId="2147485255"/>
              <ac:spMk id="9" creationId="{9CCC2454-ABC6-A3C3-D74A-5617FC9A1E80}"/>
            </ac:spMkLst>
          </pc:spChg>
          <pc:picChg chg="add mod">
            <ac:chgData name="Scobee, Kyle" userId="fe7dc999-1fed-49a0-ad5f-78e1a12bba62" providerId="ADAL" clId="{49DC76F9-053B-414B-8D9C-740983D28B5E}" dt="2025-06-05T12:57:25.443" v="1"/>
            <ac:picMkLst>
              <pc:docMk/>
              <pc:sldMasterMk cId="835336367" sldId="2147485117"/>
              <pc:sldLayoutMk cId="4248801636" sldId="2147485255"/>
              <ac:picMk id="7" creationId="{D14EC2E1-6018-1F28-C71A-1CE5666C310E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2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8/2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999" y="2332038"/>
            <a:ext cx="5126037" cy="1096962"/>
          </a:xfrm>
        </p:spPr>
        <p:txBody>
          <a:bodyPr wrap="square">
            <a:no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Situation</a:t>
            </a: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lang="en-US" altLang="en-US" sz="1400" dirty="0" err="1">
                <a:solidFill>
                  <a:schemeClr val="tx1"/>
                </a:solidFill>
              </a:rPr>
              <a:t>PowerCo</a:t>
            </a:r>
            <a:r>
              <a:rPr lang="en-US" altLang="en-US" sz="1400" dirty="0">
                <a:solidFill>
                  <a:schemeClr val="tx1"/>
                </a:solidFill>
              </a:rPr>
              <a:t> faces increasing customer churn in the SME segment (~10% churn rate).</a:t>
            </a: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lang="en-US" altLang="en-US" sz="1400" dirty="0">
                <a:solidFill>
                  <a:schemeClr val="tx1"/>
                </a:solidFill>
              </a:rPr>
              <a:t>Early signs suggest churn is influenced by price sensitivity and contract characteristics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6095999" y="1050203"/>
            <a:ext cx="5126492" cy="9618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Recommended Solution</a:t>
            </a:r>
          </a:p>
          <a:p>
            <a:pPr marL="393749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/>
              <a:t>Deploy a Random Forest-based churn prediction model to flag high-risk SME customers and prioritize them for retention actions.</a:t>
            </a:r>
            <a:endParaRPr lang="en-US" sz="1400" dirty="0">
              <a:solidFill>
                <a:schemeClr val="dk1"/>
              </a:solidFill>
              <a:ea typeface="Trebuchet MS"/>
              <a:cs typeface="Trebuchet MS"/>
              <a:sym typeface="Trebuchet M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6000" y="3822605"/>
            <a:ext cx="5126492" cy="11387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Complication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While the model achieves high overall accuracy (90%), it struggles to identify churners (only 5% recall), limiting its immediate precision in capturing at-risk customers.</a:t>
            </a:r>
            <a:endParaRPr lang="en-US" sz="1400" dirty="0">
              <a:solidFill>
                <a:srgbClr val="67676B"/>
              </a:solidFill>
              <a:sym typeface="Trebuchet MS"/>
            </a:endParaRP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6095999" y="4956595"/>
            <a:ext cx="5126492" cy="9618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Ques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2776E"/>
              </a:solidFill>
              <a:effectLst/>
              <a:uLnTx/>
              <a:uFillTx/>
              <a:ea typeface="+mn-ea"/>
              <a:cs typeface="Henderson BCG Mod Light" panose="02060403040403060203" pitchFamily="18" charset="77"/>
              <a:sym typeface="Trebuchet MS" panose="020B0603020202020204" pitchFamily="34" charset="0"/>
            </a:endParaRPr>
          </a:p>
          <a:p>
            <a:pPr marL="393750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/>
              <a:t>How can we increase the model’s recall without compromising business trust—enabling targeted, cost-effective retention strategies?</a:t>
            </a: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</TotalTime>
  <Words>107</Words>
  <Application>Microsoft Office PowerPoint</Application>
  <PresentationFormat>Widescreen</PresentationFormat>
  <Paragraphs>11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Udit Asopa</cp:lastModifiedBy>
  <cp:revision>3</cp:revision>
  <cp:lastPrinted>2016-04-06T18:59:25Z</cp:lastPrinted>
  <dcterms:created xsi:type="dcterms:W3CDTF">2016-11-04T11:46:04Z</dcterms:created>
  <dcterms:modified xsi:type="dcterms:W3CDTF">2025-08-02T12:05:0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